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3" r:id="rId1"/>
  </p:sldMasterIdLst>
  <p:notesMasterIdLst>
    <p:notesMasterId r:id="rId8"/>
  </p:notesMasterIdLst>
  <p:sldIdLst>
    <p:sldId id="259" r:id="rId2"/>
    <p:sldId id="2147473026" r:id="rId3"/>
    <p:sldId id="2147473027" r:id="rId4"/>
    <p:sldId id="2147473028" r:id="rId5"/>
    <p:sldId id="2147473029" r:id="rId6"/>
    <p:sldId id="2147473030" r:id="rId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90032"/>
    <a:srgbClr val="02467D"/>
    <a:srgbClr val="4040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753"/>
    <p:restoredTop sz="94615"/>
  </p:normalViewPr>
  <p:slideViewPr>
    <p:cSldViewPr snapToGrid="0">
      <p:cViewPr varScale="1">
        <p:scale>
          <a:sx n="62" d="100"/>
          <a:sy n="62" d="100"/>
        </p:scale>
        <p:origin x="80" y="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07F5AE3-A81B-424F-A762-1C0FF3C019C3}" type="datetimeFigureOut">
              <a:rPr lang="en-IN" smtClean="0"/>
              <a:t>16-10-2024</a:t>
            </a:fld>
            <a:endParaRPr lang="en-IN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8CCB3B5-7EA7-483B-A51F-5B927FE0611A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1230583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Slide -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D3BE218-D0E7-95BA-12D6-EF5727EE773C}"/>
              </a:ext>
            </a:extLst>
          </p:cNvPr>
          <p:cNvSpPr/>
          <p:nvPr userDrawn="1"/>
        </p:nvSpPr>
        <p:spPr>
          <a:xfrm>
            <a:off x="0" y="768634"/>
            <a:ext cx="12192000" cy="55499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i="1" dirty="0">
                <a:solidFill>
                  <a:sysClr val="windowText" lastClr="000000"/>
                </a:solidFill>
              </a:rPr>
              <a:t>Paste your output here</a:t>
            </a:r>
            <a:endParaRPr lang="en-IN" sz="2800" i="1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6991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5.svg"/><Relationship Id="rId5" Type="http://schemas.openxmlformats.org/officeDocument/2006/relationships/tags" Target="../tags/tag2.xml"/><Relationship Id="rId10" Type="http://schemas.openxmlformats.org/officeDocument/2006/relationships/image" Target="../media/image3.png"/><Relationship Id="rId4" Type="http://schemas.openxmlformats.org/officeDocument/2006/relationships/tags" Target="../tags/tag1.xml"/><Relationship Id="rId9" Type="http://schemas.openxmlformats.org/officeDocument/2006/relationships/image" Target="../media/image3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6387A7A-3FE0-4720-8F49-B2E0BC75E8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343879562"/>
              </p:ext>
            </p:extLst>
          </p:nvPr>
        </p:nvGraphicFramePr>
        <p:xfrm>
          <a:off x="1956" y="1591"/>
          <a:ext cx="1955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6" imgW="421" imgH="423" progId="TCLayout.ActiveDocument.1">
                  <p:embed/>
                </p:oleObj>
              </mc:Choice>
              <mc:Fallback>
                <p:oleObj name="think-cell Slide" r:id="rId6" imgW="421" imgH="4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6387A7A-3FE0-4720-8F49-B2E0BC75E8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5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A956484-6B66-424D-A67F-B16F28010A37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 dirty="0">
              <a:latin typeface="Concourse T3" pitchFamily="2" charset="0"/>
              <a:ea typeface="+mn-ea"/>
              <a:cs typeface="+mn-cs"/>
              <a:sym typeface="Concourse T3" pitchFamily="2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6F74CA0-A2C5-5248-1C96-59C7C1ACACE8}"/>
              </a:ext>
            </a:extLst>
          </p:cNvPr>
          <p:cNvGrpSpPr/>
          <p:nvPr userDrawn="1"/>
        </p:nvGrpSpPr>
        <p:grpSpPr>
          <a:xfrm>
            <a:off x="0" y="6312311"/>
            <a:ext cx="12192000" cy="545690"/>
            <a:chOff x="0" y="6312311"/>
            <a:chExt cx="12192000" cy="545690"/>
          </a:xfrm>
        </p:grpSpPr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749072A6-BA75-47FE-9F5C-2C454914B4E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p:blipFill>
          <p:spPr>
            <a:xfrm>
              <a:off x="0" y="6312311"/>
              <a:ext cx="12192000" cy="545690"/>
            </a:xfrm>
            <a:prstGeom prst="rect">
              <a:avLst/>
            </a:prstGeom>
          </p:spPr>
        </p:pic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D21A7D6F-248B-958D-8525-24323D0C7FD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xmlns="" r:embed="rId11"/>
                </a:ext>
              </a:extLst>
            </a:blip>
            <a:stretch>
              <a:fillRect/>
            </a:stretch>
          </p:blipFill>
          <p:spPr>
            <a:xfrm>
              <a:off x="9626108" y="6454438"/>
              <a:ext cx="2179812" cy="27247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63104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</p:sldLayoutIdLst>
  <p:hf hdr="0" ftr="0" dt="0"/>
  <p:txStyles>
    <p:titleStyle>
      <a:lvl1pPr algn="l" defTabSz="914309" rtl="0" eaLnBrk="1" latinLnBrk="0" hangingPunct="1">
        <a:spcBef>
          <a:spcPct val="0"/>
        </a:spcBef>
        <a:buNone/>
        <a:defRPr lang="en-US" altLang="ja-JP" sz="2400" b="1" kern="1200" noProof="0" dirty="0">
          <a:solidFill>
            <a:schemeClr val="tx1">
              <a:lumMod val="65000"/>
              <a:lumOff val="35000"/>
            </a:schemeClr>
          </a:solidFill>
          <a:latin typeface="Concourse T3" pitchFamily="2" charset="0"/>
          <a:ea typeface="+mn-ea"/>
          <a:cs typeface="+mn-cs"/>
          <a:sym typeface="Concourse T3" pitchFamily="2" charset="0"/>
        </a:defRPr>
      </a:lvl1pPr>
    </p:titleStyle>
    <p:bodyStyle>
      <a:lvl1pPr marL="0" indent="0" algn="l" defTabSz="914309" rtl="0" eaLnBrk="1" fontAlgn="base" latinLnBrk="0" hangingPunct="1">
        <a:spcBef>
          <a:spcPct val="20000"/>
        </a:spcBef>
        <a:spcAft>
          <a:spcPct val="0"/>
        </a:spcAft>
        <a:buFont typeface="Arial" panose="020B0604020202020204" pitchFamily="34" charset="0"/>
        <a:buNone/>
        <a:defRPr lang="en-US" sz="1600" kern="1200" dirty="0" smtClean="0">
          <a:solidFill>
            <a:schemeClr val="tx1"/>
          </a:solidFill>
          <a:latin typeface="Concourse T3" pitchFamily="2" charset="0"/>
          <a:ea typeface="+mn-ea"/>
          <a:cs typeface="+mn-cs"/>
          <a:sym typeface="Concourse T3" pitchFamily="2" charset="0"/>
        </a:defRPr>
      </a:lvl1pPr>
      <a:lvl2pPr marL="287337" indent="-285750" algn="l" defTabSz="914309" rtl="0" eaLnBrk="1" fontAlgn="base" latinLnBrk="0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lang="en-US" sz="1600" kern="1200" baseline="0" dirty="0">
          <a:solidFill>
            <a:schemeClr val="tx1"/>
          </a:solidFill>
          <a:latin typeface="Concourse T3" pitchFamily="2" charset="0"/>
          <a:ea typeface="+mn-ea"/>
          <a:cs typeface="+mn-cs"/>
          <a:sym typeface="Concourse T3" pitchFamily="2" charset="0"/>
        </a:defRPr>
      </a:lvl2pPr>
      <a:lvl3pPr marL="494443" indent="-285750" algn="l" defTabSz="914309" rtl="0" eaLnBrk="1" fontAlgn="base" latinLnBrk="0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lang="en-US" sz="1600" kern="1200" baseline="0" dirty="0">
          <a:solidFill>
            <a:schemeClr val="tx1"/>
          </a:solidFill>
          <a:latin typeface="Concourse T3" pitchFamily="2" charset="0"/>
          <a:ea typeface="+mn-ea"/>
          <a:cs typeface="+mn-cs"/>
          <a:sym typeface="Concourse T3" pitchFamily="2" charset="0"/>
        </a:defRPr>
      </a:lvl3pPr>
      <a:lvl4pPr marL="857250" indent="-285750" algn="l" defTabSz="914309" rtl="0" eaLnBrk="1" fontAlgn="base" latinLnBrk="0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umimoji="1" lang="en-US" sz="1600" kern="1200" baseline="0" dirty="0">
          <a:solidFill>
            <a:schemeClr val="tx1"/>
          </a:solidFill>
          <a:latin typeface="Concourse T3" pitchFamily="2" charset="0"/>
          <a:ea typeface="+mn-ea"/>
          <a:cs typeface="+mn-cs"/>
          <a:sym typeface="Concourse T3" pitchFamily="2" charset="0"/>
        </a:defRPr>
      </a:lvl4pPr>
      <a:lvl5pPr marL="1085850" indent="-285750" algn="l" defTabSz="914309" rtl="0" eaLnBrk="1" fontAlgn="base" latinLnBrk="0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kumimoji="1" lang="en-IN" sz="1600" kern="1200" baseline="0" dirty="0">
          <a:solidFill>
            <a:schemeClr val="tx1"/>
          </a:solidFill>
          <a:latin typeface="Concourse T3" pitchFamily="2" charset="0"/>
          <a:ea typeface="+mn-ea"/>
          <a:cs typeface="+mn-cs"/>
          <a:sym typeface="Concourse T3" pitchFamily="2" charset="0"/>
        </a:defRPr>
      </a:lvl5pPr>
      <a:lvl6pPr marL="2514349" indent="-228578" algn="l" defTabSz="91430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4" indent="-228578" algn="l" defTabSz="91430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8" indent="-228578" algn="l" defTabSz="91430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4" indent="-228578" algn="l" defTabSz="91430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5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8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5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95B643-ACE4-43E3-8C48-91183EA6A6F0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3141663" y="6399213"/>
            <a:ext cx="794717" cy="34131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8EE83B72-8A6E-D042-8701-C4AA5B782B6C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42D4ED-6A57-4B24-828A-33988B43C5A6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415925" y="6399213"/>
            <a:ext cx="2079625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 dirty="0"/>
              <a:t>STRICTLY CONFIDENTAL © TATA DIGITAL LIMITED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DCD6818-8E7D-4726-B7D3-A0507F51DF98}"/>
              </a:ext>
            </a:extLst>
          </p:cNvPr>
          <p:cNvSpPr txBox="1"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90032"/>
          </a:solidFill>
        </p:spPr>
        <p:txBody>
          <a:bodyPr wrap="square" rtlCol="0">
            <a:spAutoFit/>
          </a:bodyPr>
          <a:lstStyle/>
          <a:p>
            <a:endParaRPr lang="en-IN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DC593B4-30DF-42C1-AE43-4E353623569D}"/>
              </a:ext>
            </a:extLst>
          </p:cNvPr>
          <p:cNvSpPr txBox="1"/>
          <p:nvPr/>
        </p:nvSpPr>
        <p:spPr>
          <a:xfrm>
            <a:off x="1269813" y="1876167"/>
            <a:ext cx="9652374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solidFill>
                  <a:schemeClr val="bg1"/>
                </a:solidFill>
                <a:latin typeface="Proxima Nova Bl" panose="02000506030000020004" pitchFamily="50" charset="0"/>
                <a:ea typeface="Gadugi" panose="020B0502040204020203" pitchFamily="34" charset="0"/>
                <a:cs typeface="72" panose="020B0503030000000003" pitchFamily="34" charset="0"/>
              </a:rPr>
              <a:t>GC 16 | Introduction to DBMS</a:t>
            </a:r>
            <a:endParaRPr lang="en-IN" sz="4000" b="1" dirty="0">
              <a:solidFill>
                <a:schemeClr val="bg1"/>
              </a:solidFill>
              <a:latin typeface="Proxima Nova Bl" panose="02000506030000020004" pitchFamily="50" charset="0"/>
              <a:ea typeface="Gadugi" panose="020B0502040204020203" pitchFamily="34" charset="0"/>
              <a:cs typeface="72" panose="020B0503030000000003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1961BC0-DC1F-E6AE-1553-73189166849F}"/>
              </a:ext>
            </a:extLst>
          </p:cNvPr>
          <p:cNvSpPr txBox="1"/>
          <p:nvPr/>
        </p:nvSpPr>
        <p:spPr>
          <a:xfrm>
            <a:off x="1269813" y="3429000"/>
            <a:ext cx="9652374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000" b="1" dirty="0" err="1" smtClean="0">
                <a:solidFill>
                  <a:schemeClr val="bg1"/>
                </a:solidFill>
                <a:latin typeface="Proxima Nova Bl" panose="02000506030000020004" pitchFamily="50" charset="0"/>
                <a:ea typeface="Gadugi" panose="020B0502040204020203" pitchFamily="34" charset="0"/>
                <a:cs typeface="72" panose="020B0503030000000003" pitchFamily="34" charset="0"/>
              </a:rPr>
              <a:t>Manikandan.C</a:t>
            </a:r>
            <a:endParaRPr lang="en-IN" sz="4000" b="1" dirty="0">
              <a:solidFill>
                <a:schemeClr val="bg1"/>
              </a:solidFill>
              <a:latin typeface="Proxima Nova Bl" panose="02000506030000020004" pitchFamily="50" charset="0"/>
              <a:ea typeface="Gadugi" panose="020B0502040204020203" pitchFamily="34" charset="0"/>
              <a:cs typeface="72" panose="020B050303000000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57758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7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F79D9B7-7562-D15D-ED37-3BAB468A314D}"/>
              </a:ext>
            </a:extLst>
          </p:cNvPr>
          <p:cNvSpPr/>
          <p:nvPr/>
        </p:nvSpPr>
        <p:spPr>
          <a:xfrm>
            <a:off x="0" y="0"/>
            <a:ext cx="12192000" cy="792000"/>
          </a:xfrm>
          <a:prstGeom prst="rect">
            <a:avLst/>
          </a:prstGeom>
          <a:solidFill>
            <a:srgbClr val="190032"/>
          </a:solidFill>
          <a:ln>
            <a:solidFill>
              <a:srgbClr val="1900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2800" b="1" dirty="0">
                <a:solidFill>
                  <a:schemeClr val="bg1"/>
                </a:solidFill>
                <a:latin typeface="Proxima Nova BI"/>
              </a:rPr>
              <a:t>Insert Order Entries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292" y="1549303"/>
            <a:ext cx="11989416" cy="3759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24862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F79D9B7-7562-D15D-ED37-3BAB468A314D}"/>
              </a:ext>
            </a:extLst>
          </p:cNvPr>
          <p:cNvSpPr/>
          <p:nvPr/>
        </p:nvSpPr>
        <p:spPr>
          <a:xfrm>
            <a:off x="0" y="0"/>
            <a:ext cx="12192000" cy="792000"/>
          </a:xfrm>
          <a:prstGeom prst="rect">
            <a:avLst/>
          </a:prstGeom>
          <a:solidFill>
            <a:srgbClr val="190032"/>
          </a:solidFill>
          <a:ln>
            <a:solidFill>
              <a:srgbClr val="1900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2800" b="1" dirty="0">
                <a:solidFill>
                  <a:schemeClr val="bg1"/>
                </a:solidFill>
                <a:latin typeface="Proxima Nova BI"/>
              </a:rPr>
              <a:t>List of Employee Number and Title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37" y="990474"/>
            <a:ext cx="12179926" cy="48770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75490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F79D9B7-7562-D15D-ED37-3BAB468A314D}"/>
              </a:ext>
            </a:extLst>
          </p:cNvPr>
          <p:cNvSpPr/>
          <p:nvPr/>
        </p:nvSpPr>
        <p:spPr>
          <a:xfrm>
            <a:off x="0" y="0"/>
            <a:ext cx="12192000" cy="792000"/>
          </a:xfrm>
          <a:prstGeom prst="rect">
            <a:avLst/>
          </a:prstGeom>
          <a:solidFill>
            <a:srgbClr val="190032"/>
          </a:solidFill>
          <a:ln>
            <a:solidFill>
              <a:srgbClr val="1900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2800" b="1" dirty="0">
                <a:solidFill>
                  <a:schemeClr val="bg1"/>
                </a:solidFill>
                <a:latin typeface="Proxima Nova BI"/>
              </a:rPr>
              <a:t>First Name of Student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292" y="599929"/>
            <a:ext cx="11989416" cy="5658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32950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F79D9B7-7562-D15D-ED37-3BAB468A314D}"/>
              </a:ext>
            </a:extLst>
          </p:cNvPr>
          <p:cNvSpPr/>
          <p:nvPr/>
        </p:nvSpPr>
        <p:spPr>
          <a:xfrm>
            <a:off x="0" y="0"/>
            <a:ext cx="12192000" cy="792000"/>
          </a:xfrm>
          <a:prstGeom prst="rect">
            <a:avLst/>
          </a:prstGeom>
          <a:solidFill>
            <a:srgbClr val="190032"/>
          </a:solidFill>
          <a:ln>
            <a:solidFill>
              <a:srgbClr val="1900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2800" b="1" dirty="0">
                <a:solidFill>
                  <a:schemeClr val="bg1"/>
                </a:solidFill>
                <a:latin typeface="Proxima Nova BI"/>
              </a:rPr>
              <a:t>First thirty rows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1655" y="920621"/>
            <a:ext cx="11468689" cy="5016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3770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F79D9B7-7562-D15D-ED37-3BAB468A314D}"/>
              </a:ext>
            </a:extLst>
          </p:cNvPr>
          <p:cNvSpPr/>
          <p:nvPr/>
        </p:nvSpPr>
        <p:spPr>
          <a:xfrm>
            <a:off x="0" y="0"/>
            <a:ext cx="12192000" cy="792000"/>
          </a:xfrm>
          <a:prstGeom prst="rect">
            <a:avLst/>
          </a:prstGeom>
          <a:solidFill>
            <a:srgbClr val="190032"/>
          </a:solidFill>
          <a:ln>
            <a:solidFill>
              <a:srgbClr val="1900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2800" b="1" dirty="0">
                <a:solidFill>
                  <a:schemeClr val="bg1"/>
                </a:solidFill>
                <a:latin typeface="Proxima Nova BI"/>
              </a:rPr>
              <a:t>Display open invoices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37" y="1092080"/>
            <a:ext cx="12179926" cy="4673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15696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Kz6uV1RoOwY07uOitTxg"/>
</p:tagLst>
</file>

<file path=ppt/theme/theme1.xml><?xml version="1.0" encoding="utf-8"?>
<a:theme xmlns:a="http://schemas.openxmlformats.org/drawingml/2006/main" name="TSMG template">
  <a:themeElements>
    <a:clrScheme name="TSMG Color Palette">
      <a:dk1>
        <a:srgbClr val="000000"/>
      </a:dk1>
      <a:lt1>
        <a:srgbClr val="FFFFFF"/>
      </a:lt1>
      <a:dk2>
        <a:srgbClr val="265599"/>
      </a:dk2>
      <a:lt2>
        <a:srgbClr val="FFFFFF"/>
      </a:lt2>
      <a:accent1>
        <a:srgbClr val="BDDEED"/>
      </a:accent1>
      <a:accent2>
        <a:srgbClr val="00B0F0"/>
      </a:accent2>
      <a:accent3>
        <a:srgbClr val="1551A9"/>
      </a:accent3>
      <a:accent4>
        <a:srgbClr val="103D7F"/>
      </a:accent4>
      <a:accent5>
        <a:srgbClr val="A5A5A5"/>
      </a:accent5>
      <a:accent6>
        <a:srgbClr val="808080"/>
      </a:accent6>
      <a:hlink>
        <a:srgbClr val="00B0F0"/>
      </a:hlink>
      <a:folHlink>
        <a:srgbClr val="FFC000"/>
      </a:folHlink>
    </a:clrScheme>
    <a:fontScheme name="Custom 1">
      <a:majorFont>
        <a:latin typeface="Concourse T3"/>
        <a:ea typeface=""/>
        <a:cs typeface=""/>
      </a:majorFont>
      <a:minorFont>
        <a:latin typeface="Concourse T3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 err="1" smtClean="0">
            <a:latin typeface="+mj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525" row="2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AF47D5C3-6B6A-4AA3-9144-0D231B543902}">
  <we:reference id="wa104038830" version="1.0.0.3" store="en-US" storeType="OMEX"/>
  <we:alternateReferences>
    <we:reference id="WA104038830" version="1.0.0.3" store="WA104038830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otalTime>1993</TotalTime>
  <Words>33</Words>
  <Application>Microsoft Office PowerPoint</Application>
  <PresentationFormat>Widescreen</PresentationFormat>
  <Paragraphs>9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5" baseType="lpstr">
      <vt:lpstr>72</vt:lpstr>
      <vt:lpstr>Arial</vt:lpstr>
      <vt:lpstr>Calibri</vt:lpstr>
      <vt:lpstr>Concourse T3</vt:lpstr>
      <vt:lpstr>Gadugi</vt:lpstr>
      <vt:lpstr>Proxima Nova BI</vt:lpstr>
      <vt:lpstr>Proxima Nova Bl</vt:lpstr>
      <vt:lpstr>TSMG templat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sif Ansar Ahmed Ansari</dc:creator>
  <cp:lastModifiedBy>HP</cp:lastModifiedBy>
  <cp:revision>55</cp:revision>
  <dcterms:created xsi:type="dcterms:W3CDTF">2022-08-24T13:21:54Z</dcterms:created>
  <dcterms:modified xsi:type="dcterms:W3CDTF">2024-10-16T02:04:49Z</dcterms:modified>
</cp:coreProperties>
</file>